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E8040E80" ContentType="image/png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274" r:id="rId2"/>
    <p:sldId id="277" r:id="rId3"/>
    <p:sldId id="279" r:id="rId4"/>
    <p:sldId id="280" r:id="rId5"/>
    <p:sldId id="262" r:id="rId6"/>
    <p:sldId id="263" r:id="rId7"/>
    <p:sldId id="287" r:id="rId8"/>
    <p:sldId id="288" r:id="rId9"/>
    <p:sldId id="292" r:id="rId10"/>
    <p:sldId id="294" r:id="rId11"/>
    <p:sldId id="285" r:id="rId12"/>
    <p:sldId id="264" r:id="rId13"/>
    <p:sldId id="265" r:id="rId14"/>
    <p:sldId id="266" r:id="rId15"/>
    <p:sldId id="267" r:id="rId16"/>
    <p:sldId id="269" r:id="rId17"/>
    <p:sldId id="276" r:id="rId18"/>
    <p:sldId id="281" r:id="rId19"/>
    <p:sldId id="282" r:id="rId20"/>
    <p:sldId id="284" r:id="rId21"/>
    <p:sldId id="286" r:id="rId22"/>
  </p:sldIdLst>
  <p:sldSz cx="9144000" cy="5143500" type="screen16x9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9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89775" autoAdjust="0"/>
  </p:normalViewPr>
  <p:slideViewPr>
    <p:cSldViewPr showGuides="1">
      <p:cViewPr>
        <p:scale>
          <a:sx n="79" d="100"/>
          <a:sy n="79" d="100"/>
        </p:scale>
        <p:origin x="874" y="715"/>
      </p:cViewPr>
      <p:guideLst>
        <p:guide orient="horz" pos="2890"/>
        <p:guide pos="24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howGuides="1">
      <p:cViewPr varScale="1">
        <p:scale>
          <a:sx n="98" d="100"/>
          <a:sy n="98" d="100"/>
        </p:scale>
        <p:origin x="-3564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B2A7F-4B48-44F8-B618-AC5DA58918DB}" type="datetimeFigureOut">
              <a:rPr lang="nb-NO" smtClean="0"/>
              <a:t>21.09.2015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121EB7-3AC9-42C2-A08B-2AD9D347584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04349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8BB333-B289-45A9-9378-0D6D4829CADC}" type="datetimeFigureOut">
              <a:rPr lang="nb-NO" smtClean="0"/>
              <a:t>21.09.2015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7CB3C8-E0A6-4660-A1A1-211E4E2376E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099977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7CB3C8-E0A6-4660-A1A1-211E4E2376E8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635259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7CB3C8-E0A6-4660-A1A1-211E4E2376E8}" type="slidenum">
              <a:rPr lang="en-GB" smtClean="0"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02214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910"/>
            <a:ext cx="9142413" cy="4733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19870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OSL B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2413" cy="4733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13048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SVG F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362522"/>
            <a:ext cx="9144000" cy="6094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249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ormal sid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374848" y="205979"/>
            <a:ext cx="8229600" cy="857250"/>
          </a:xfrm>
        </p:spPr>
        <p:txBody>
          <a:bodyPr/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74848" y="1200151"/>
            <a:ext cx="8229600" cy="3394472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95620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ormal side tekst s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 userDrawn="1"/>
        </p:nvSpPr>
        <p:spPr>
          <a:xfrm>
            <a:off x="0" y="0"/>
            <a:ext cx="9144000" cy="47319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374848" y="205979"/>
            <a:ext cx="8229600" cy="85725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74848" y="1200151"/>
            <a:ext cx="8229600" cy="339447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4365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ormal side tekst sort k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 userDrawn="1"/>
        </p:nvSpPr>
        <p:spPr>
          <a:xfrm>
            <a:off x="0" y="0"/>
            <a:ext cx="9144000" cy="47319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374848" y="205979"/>
            <a:ext cx="5781328" cy="85725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74848" y="1200151"/>
            <a:ext cx="5781328" cy="339447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176" y="-459432"/>
            <a:ext cx="2808312" cy="56951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70590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374848" y="205979"/>
            <a:ext cx="8229600" cy="857250"/>
          </a:xfrm>
        </p:spPr>
        <p:txBody>
          <a:bodyPr/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374848" y="1200151"/>
            <a:ext cx="4038600" cy="3394472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33198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374848" y="205979"/>
            <a:ext cx="4053136" cy="857250"/>
          </a:xfrm>
        </p:spPr>
        <p:txBody>
          <a:bodyPr/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374848" y="1200151"/>
            <a:ext cx="4038600" cy="3394472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 hasCustomPrompt="1"/>
          </p:nvPr>
        </p:nvSpPr>
        <p:spPr>
          <a:xfrm>
            <a:off x="4648200" y="0"/>
            <a:ext cx="4495800" cy="4731990"/>
          </a:xfrm>
          <a:noFill/>
        </p:spPr>
        <p:txBody>
          <a:bodyPr anchor="ctr">
            <a:normAutofit/>
          </a:bodyPr>
          <a:lstStyle>
            <a:lvl1pPr>
              <a:defRPr sz="2000" b="0" u="none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smtClean="0"/>
              <a:t>Objekt/bilde </a:t>
            </a:r>
          </a:p>
          <a:p>
            <a:pPr lvl="0"/>
            <a:r>
              <a:rPr lang="nb-NO" dirty="0" smtClean="0"/>
              <a:t>Gjerne på hvit bakgrunn, </a:t>
            </a:r>
            <a:br>
              <a:rPr lang="nb-NO" dirty="0" smtClean="0"/>
            </a:br>
            <a:r>
              <a:rPr lang="nb-NO" dirty="0" smtClean="0"/>
              <a:t>eller som fyller hele rammen </a:t>
            </a:r>
            <a:br>
              <a:rPr lang="nb-NO" dirty="0" smtClean="0"/>
            </a:br>
            <a:r>
              <a:rPr lang="nb-NO" dirty="0" smtClean="0"/>
              <a:t>uten å gå over det grå </a:t>
            </a:r>
            <a:r>
              <a:rPr lang="nb-NO" dirty="0" err="1" smtClean="0"/>
              <a:t>bunnfelte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65268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2846338"/>
            <a:ext cx="7772400" cy="1021556"/>
          </a:xfrm>
        </p:spPr>
        <p:txBody>
          <a:bodyPr anchor="t">
            <a:noAutofit/>
          </a:bodyPr>
          <a:lstStyle>
            <a:lvl1pPr algn="l">
              <a:defRPr sz="2000" b="1" cap="all"/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1491630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153484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mal sort bakgrunn (bilder/figurer på sort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2"/>
          <p:cNvSpPr>
            <a:spLocks noGrp="1"/>
          </p:cNvSpPr>
          <p:nvPr>
            <p:ph type="pic" idx="1"/>
          </p:nvPr>
        </p:nvSpPr>
        <p:spPr>
          <a:xfrm>
            <a:off x="1202432" y="339503"/>
            <a:ext cx="6739136" cy="4128393"/>
          </a:xfr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 smtClean="0"/>
              <a:t>Klikk ikonet for å legge til et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32417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OSL Taa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769"/>
            <a:ext cx="9142413" cy="4733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31820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74848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74848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714875"/>
            <a:ext cx="9144000" cy="42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9221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0" r:id="rId2"/>
    <p:sldLayoutId id="2147483663" r:id="rId3"/>
    <p:sldLayoutId id="2147483664" r:id="rId4"/>
    <p:sldLayoutId id="2147483652" r:id="rId5"/>
    <p:sldLayoutId id="2147483656" r:id="rId6"/>
    <p:sldLayoutId id="2147483651" r:id="rId7"/>
    <p:sldLayoutId id="2147483654" r:id="rId8"/>
    <p:sldLayoutId id="2147483658" r:id="rId9"/>
    <p:sldLayoutId id="2147483649" r:id="rId10"/>
    <p:sldLayoutId id="2147483660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accent3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7.jp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8040E80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Sylinder 1"/>
          <p:cNvSpPr txBox="1"/>
          <p:nvPr/>
        </p:nvSpPr>
        <p:spPr>
          <a:xfrm>
            <a:off x="107504" y="1491630"/>
            <a:ext cx="7884368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lakonferansen</a:t>
            </a:r>
            <a:r>
              <a:rPr lang="nb-NO" sz="1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5</a:t>
            </a:r>
          </a:p>
          <a:p>
            <a:r>
              <a:rPr lang="nb-NO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nsernsjef Dag Falk-Petersen</a:t>
            </a:r>
          </a:p>
          <a:p>
            <a:r>
              <a:rPr lang="nb-NO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vinor</a:t>
            </a:r>
          </a:p>
        </p:txBody>
      </p:sp>
    </p:spTree>
    <p:extLst>
      <p:ext uri="{BB962C8B-B14F-4D97-AF65-F5344CB8AC3E}">
        <p14:creationId xmlns:p14="http://schemas.microsoft.com/office/powerpoint/2010/main" val="1153112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s://avinor.no/globalassets/bergen-lufthavn/utbygging/t3-perspektiv_gavl-syd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07"/>
          <a:stretch/>
        </p:blipFill>
        <p:spPr bwMode="auto">
          <a:xfrm>
            <a:off x="-87383" y="-92546"/>
            <a:ext cx="9231383" cy="4824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5788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s://avinor.no/globalassets/bergen-lufthavn/utbygging/t3-perspektiv_gavl-syd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7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25007"/>
          <a:stretch/>
        </p:blipFill>
        <p:spPr bwMode="auto">
          <a:xfrm>
            <a:off x="-87383" y="-92546"/>
            <a:ext cx="9231383" cy="4824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Bild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6" y="556754"/>
            <a:ext cx="4460294" cy="295494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56754"/>
            <a:ext cx="4460294" cy="2954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103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Støy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dirty="0" smtClean="0"/>
              <a:t>Avinor har fokus på den negative påvirkning luftfart generelt har i forhold til støy, og særskilt knyttet til helikopter-operasjoner  </a:t>
            </a:r>
            <a:br>
              <a:rPr lang="nb-NO" dirty="0" smtClean="0"/>
            </a:br>
            <a:endParaRPr lang="nb-NO" dirty="0"/>
          </a:p>
          <a:p>
            <a:r>
              <a:rPr lang="nb-NO" dirty="0" smtClean="0"/>
              <a:t>Viktige tiltak</a:t>
            </a:r>
          </a:p>
          <a:p>
            <a:pPr lvl="1"/>
            <a:r>
              <a:rPr lang="nb-NO" dirty="0" smtClean="0"/>
              <a:t>Etablering av miljøtilpassede inn- og utflygingsprosedyrer</a:t>
            </a:r>
          </a:p>
          <a:p>
            <a:pPr lvl="1"/>
            <a:r>
              <a:rPr lang="nb-NO" dirty="0" smtClean="0"/>
              <a:t>Bedre samling for bedre forutsigbarhet – ønske fra kommunen 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88692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nb-NO" dirty="0"/>
              <a:t>Dagens </a:t>
            </a:r>
            <a:r>
              <a:rPr lang="nb-NO" dirty="0" smtClean="0"/>
              <a:t>situasjon Sola </a:t>
            </a:r>
            <a:r>
              <a:rPr lang="nb-NO" dirty="0"/>
              <a:t/>
            </a:r>
            <a:br>
              <a:rPr lang="nb-NO" dirty="0"/>
            </a:br>
            <a:r>
              <a:rPr lang="nb-NO" sz="1800" dirty="0" smtClean="0"/>
              <a:t>Hovedtyngden av inn- </a:t>
            </a:r>
            <a:r>
              <a:rPr lang="nb-NO" sz="1800" dirty="0"/>
              <a:t>og utflyginger </a:t>
            </a:r>
            <a:r>
              <a:rPr lang="nb-NO" sz="1800" dirty="0" smtClean="0"/>
              <a:t>går over sjø</a:t>
            </a:r>
            <a:endParaRPr lang="nb-NO" sz="1800" dirty="0"/>
          </a:p>
        </p:txBody>
      </p:sp>
      <p:pic>
        <p:nvPicPr>
          <p:cNvPr id="4" name="Plassholder for innhold 3"/>
          <p:cNvPicPr>
            <a:picLocks noGrp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7504" y="1070083"/>
            <a:ext cx="3646825" cy="3394075"/>
          </a:xfrm>
          <a:prstGeom prst="rect">
            <a:avLst/>
          </a:prstGeom>
        </p:spPr>
      </p:pic>
      <p:sp>
        <p:nvSpPr>
          <p:cNvPr id="6" name="TekstSylinder 5"/>
          <p:cNvSpPr txBox="1"/>
          <p:nvPr/>
        </p:nvSpPr>
        <p:spPr>
          <a:xfrm>
            <a:off x="251520" y="4464158"/>
            <a:ext cx="36468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dirty="0" smtClean="0"/>
              <a:t>Landing mot øst anslått til 55% av totaltrafikken</a:t>
            </a:r>
            <a:endParaRPr lang="nb-NO" sz="1200" dirty="0"/>
          </a:p>
        </p:txBody>
      </p:sp>
      <p:pic>
        <p:nvPicPr>
          <p:cNvPr id="7" name="Bilde 6"/>
          <p:cNvPicPr/>
          <p:nvPr/>
        </p:nvPicPr>
        <p:blipFill>
          <a:blip r:embed="rId3"/>
          <a:stretch>
            <a:fillRect/>
          </a:stretch>
        </p:blipFill>
        <p:spPr>
          <a:xfrm>
            <a:off x="5508104" y="1057515"/>
            <a:ext cx="3359323" cy="3394076"/>
          </a:xfrm>
          <a:prstGeom prst="rect">
            <a:avLst/>
          </a:prstGeom>
        </p:spPr>
      </p:pic>
      <p:sp>
        <p:nvSpPr>
          <p:cNvPr id="8" name="TekstSylinder 7"/>
          <p:cNvSpPr txBox="1"/>
          <p:nvPr/>
        </p:nvSpPr>
        <p:spPr>
          <a:xfrm>
            <a:off x="5652120" y="4451591"/>
            <a:ext cx="335932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dirty="0" smtClean="0"/>
              <a:t>Avgang mot vest anslått til 60% av totaltrafikken </a:t>
            </a:r>
            <a:endParaRPr lang="nb-NO" sz="1100" dirty="0"/>
          </a:p>
        </p:txBody>
      </p:sp>
      <p:sp>
        <p:nvSpPr>
          <p:cNvPr id="9" name="TekstSylinder 8"/>
          <p:cNvSpPr txBox="1"/>
          <p:nvPr/>
        </p:nvSpPr>
        <p:spPr>
          <a:xfrm>
            <a:off x="3852856" y="2397788"/>
            <a:ext cx="172819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 smtClean="0"/>
              <a:t>Gjør Sola spesielt egnet for denne type trafikk</a:t>
            </a:r>
            <a:endParaRPr lang="nb-NO" sz="1400" dirty="0"/>
          </a:p>
        </p:txBody>
      </p:sp>
    </p:spTree>
    <p:extLst>
      <p:ext uri="{BB962C8B-B14F-4D97-AF65-F5344CB8AC3E}">
        <p14:creationId xmlns:p14="http://schemas.microsoft.com/office/powerpoint/2010/main" val="264598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nb-NO" dirty="0" smtClean="0"/>
              <a:t>Dagens situasjon  Sola</a:t>
            </a:r>
            <a:br>
              <a:rPr lang="nb-NO" dirty="0" smtClean="0"/>
            </a:br>
            <a:r>
              <a:rPr lang="nb-NO" sz="1800" dirty="0" smtClean="0"/>
              <a:t>Eksempler på inn- og utflyginger som skal samles i smalere traséer over land  </a:t>
            </a:r>
            <a:endParaRPr lang="nb-NO" sz="1800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829320" y="2264771"/>
            <a:ext cx="4977455" cy="2165233"/>
          </a:xfrm>
        </p:spPr>
        <p:txBody>
          <a:bodyPr/>
          <a:lstStyle/>
          <a:p>
            <a:endParaRPr lang="nb-NO" dirty="0" smtClean="0"/>
          </a:p>
          <a:p>
            <a:endParaRPr lang="nb-NO" dirty="0"/>
          </a:p>
        </p:txBody>
      </p:sp>
      <p:pic>
        <p:nvPicPr>
          <p:cNvPr id="1026" name="Bilde 3" descr="image01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987574"/>
            <a:ext cx="3672408" cy="3416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kstSylinder 3"/>
          <p:cNvSpPr txBox="1"/>
          <p:nvPr/>
        </p:nvSpPr>
        <p:spPr>
          <a:xfrm>
            <a:off x="1331640" y="4403618"/>
            <a:ext cx="16561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 smtClean="0"/>
              <a:t>Avgang mot øst</a:t>
            </a:r>
            <a:endParaRPr lang="nb-NO" sz="1400" dirty="0"/>
          </a:p>
        </p:txBody>
      </p:sp>
      <p:pic>
        <p:nvPicPr>
          <p:cNvPr id="1027" name="Bilde 4" descr="image00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3279" y="987574"/>
            <a:ext cx="3648513" cy="34160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kstSylinder 5"/>
          <p:cNvSpPr txBox="1"/>
          <p:nvPr/>
        </p:nvSpPr>
        <p:spPr>
          <a:xfrm>
            <a:off x="6444208" y="4403618"/>
            <a:ext cx="17281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 smtClean="0"/>
              <a:t>Landing mot vest</a:t>
            </a:r>
            <a:endParaRPr lang="nb-NO" sz="1400" dirty="0"/>
          </a:p>
        </p:txBody>
      </p:sp>
    </p:spTree>
    <p:extLst>
      <p:ext uri="{BB962C8B-B14F-4D97-AF65-F5344CB8AC3E}">
        <p14:creationId xmlns:p14="http://schemas.microsoft.com/office/powerpoint/2010/main" val="1027828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Satellittbaserte innflygingsprosedyrer</a:t>
            </a:r>
            <a:endParaRPr lang="nb-NO" dirty="0"/>
          </a:p>
        </p:txBody>
      </p:sp>
      <p:pic>
        <p:nvPicPr>
          <p:cNvPr id="4" name="Plassholder for innhold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267930" y="1275607"/>
            <a:ext cx="4580823" cy="3024336"/>
          </a:xfrm>
          <a:prstGeom prst="rect">
            <a:avLst/>
          </a:prstGeom>
        </p:spPr>
      </p:pic>
      <p:sp>
        <p:nvSpPr>
          <p:cNvPr id="6" name="TekstSylinder 5"/>
          <p:cNvSpPr txBox="1"/>
          <p:nvPr/>
        </p:nvSpPr>
        <p:spPr>
          <a:xfrm>
            <a:off x="107504" y="1265148"/>
            <a:ext cx="4088418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/>
              <a:t>Test av prosedyrer i samarbeid med helikopteroperatørene</a:t>
            </a:r>
            <a:br>
              <a:rPr lang="nb-NO" sz="1400" dirty="0" smtClean="0"/>
            </a:br>
            <a:endParaRPr lang="nb-NO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/>
              <a:t>Traséer basert bl.a. på innspill fra Sola kommune og hvor bebyggelse er hensyntatt i den grad dette er mulig</a:t>
            </a:r>
            <a:br>
              <a:rPr lang="nb-NO" sz="1400" dirty="0" smtClean="0"/>
            </a:br>
            <a:endParaRPr lang="nb-NO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/>
              <a:t>Traséene vil i neste omgang også testes for utflyging </a:t>
            </a:r>
            <a:br>
              <a:rPr lang="nb-NO" sz="1400" dirty="0" smtClean="0"/>
            </a:br>
            <a:endParaRPr lang="nb-NO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/>
              <a:t>Tilsvarende tiltak vil gjennomføres for andre aktuelle lufthavner</a:t>
            </a:r>
            <a:br>
              <a:rPr lang="nb-NO" sz="1400" dirty="0" smtClean="0"/>
            </a:br>
            <a:endParaRPr lang="nb-NO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/>
              <a:t>Planlagt </a:t>
            </a:r>
            <a:r>
              <a:rPr lang="nb-NO" sz="1400" dirty="0"/>
              <a:t>start av testperiode </a:t>
            </a:r>
            <a:r>
              <a:rPr lang="nb-NO" sz="1400" dirty="0" smtClean="0"/>
              <a:t>i løpet av året. Planlagt </a:t>
            </a:r>
            <a:r>
              <a:rPr lang="nb-NO" sz="1400" dirty="0"/>
              <a:t>permanent implementering </a:t>
            </a:r>
            <a:r>
              <a:rPr lang="nb-NO" sz="1400" dirty="0" smtClean="0"/>
              <a:t>2017.</a:t>
            </a:r>
            <a:endParaRPr lang="nb-NO" sz="1400" dirty="0"/>
          </a:p>
          <a:p>
            <a:endParaRPr lang="nb-NO" sz="1400" dirty="0" smtClean="0"/>
          </a:p>
          <a:p>
            <a:endParaRPr lang="nb-NO" sz="1400" dirty="0"/>
          </a:p>
        </p:txBody>
      </p:sp>
    </p:spTree>
    <p:extLst>
      <p:ext uri="{BB962C8B-B14F-4D97-AF65-F5344CB8AC3E}">
        <p14:creationId xmlns:p14="http://schemas.microsoft.com/office/powerpoint/2010/main" val="2333239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69168" y="195486"/>
            <a:ext cx="8229600" cy="857250"/>
          </a:xfrm>
        </p:spPr>
        <p:txBody>
          <a:bodyPr>
            <a:normAutofit/>
          </a:bodyPr>
          <a:lstStyle/>
          <a:p>
            <a:r>
              <a:rPr lang="nb-NO" dirty="0" smtClean="0"/>
              <a:t>Avinor effektiviserer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60586" y="915566"/>
            <a:ext cx="4123382" cy="374441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sz="1800" dirty="0"/>
              <a:t>Internt initiativ – møte bransjens utfordringer</a:t>
            </a:r>
          </a:p>
          <a:p>
            <a:pPr marL="0" indent="0">
              <a:buNone/>
            </a:pPr>
            <a:r>
              <a:rPr lang="nb-NO" sz="1800" dirty="0" smtClean="0"/>
              <a:t/>
            </a:r>
            <a:br>
              <a:rPr lang="nb-NO" sz="1800" dirty="0" smtClean="0"/>
            </a:br>
            <a:r>
              <a:rPr lang="nb-NO" sz="1800" dirty="0" smtClean="0"/>
              <a:t>Konsernet skal </a:t>
            </a:r>
            <a:r>
              <a:rPr lang="nb-NO" sz="1800" dirty="0"/>
              <a:t>i 2018 ha en reduksjon på driftskostnader på </a:t>
            </a:r>
            <a:r>
              <a:rPr lang="nb-NO" sz="1800" b="1" dirty="0"/>
              <a:t>600 MNOK</a:t>
            </a:r>
            <a:r>
              <a:rPr lang="nb-NO" sz="1800" dirty="0"/>
              <a:t>.</a:t>
            </a:r>
          </a:p>
          <a:p>
            <a:pPr marL="0" indent="0">
              <a:buNone/>
            </a:pPr>
            <a:r>
              <a:rPr lang="nb-NO" sz="1800" dirty="0" smtClean="0"/>
              <a:t/>
            </a:r>
            <a:br>
              <a:rPr lang="nb-NO" sz="1800" dirty="0" smtClean="0"/>
            </a:br>
            <a:r>
              <a:rPr lang="nb-NO" sz="1800" dirty="0" smtClean="0"/>
              <a:t>Akkumulert </a:t>
            </a:r>
            <a:r>
              <a:rPr lang="nb-NO" sz="1800" dirty="0"/>
              <a:t>reduksjon for konsernet i perioden 2015-2018 er målsatt til </a:t>
            </a:r>
            <a:r>
              <a:rPr lang="nb-NO" sz="1800" b="1" dirty="0"/>
              <a:t>1,5 MRD NOK</a:t>
            </a:r>
            <a:r>
              <a:rPr lang="nb-NO" sz="1800" dirty="0" smtClean="0"/>
              <a:t>.</a:t>
            </a:r>
          </a:p>
          <a:p>
            <a:pPr marL="0" indent="0">
              <a:buNone/>
            </a:pPr>
            <a:endParaRPr lang="nb-NO" sz="1800" dirty="0" smtClean="0"/>
          </a:p>
          <a:p>
            <a:pPr marL="0" indent="0">
              <a:buNone/>
            </a:pPr>
            <a:r>
              <a:rPr lang="nb-NO" sz="1800" dirty="0" smtClean="0"/>
              <a:t>Vi ligger godt an i henhold til prognoser.</a:t>
            </a:r>
          </a:p>
        </p:txBody>
      </p:sp>
      <p:pic>
        <p:nvPicPr>
          <p:cNvPr id="6" name="Bild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10"/>
          <a:stretch/>
        </p:blipFill>
        <p:spPr>
          <a:xfrm>
            <a:off x="4499993" y="0"/>
            <a:ext cx="5715817" cy="4731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4701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Lufttrafikktjenesten</a:t>
            </a:r>
            <a:r>
              <a:rPr lang="en-GB" dirty="0" smtClean="0"/>
              <a:t> </a:t>
            </a:r>
            <a:r>
              <a:rPr lang="en-GB" dirty="0" err="1" smtClean="0"/>
              <a:t>gjennom</a:t>
            </a:r>
            <a:r>
              <a:rPr lang="en-GB" dirty="0" smtClean="0"/>
              <a:t> </a:t>
            </a:r>
            <a:r>
              <a:rPr lang="en-GB" dirty="0" err="1" smtClean="0"/>
              <a:t>historien</a:t>
            </a:r>
            <a:endParaRPr lang="en-GB" dirty="0"/>
          </a:p>
        </p:txBody>
      </p:sp>
      <p:sp>
        <p:nvSpPr>
          <p:cNvPr id="5" name="Right Arrow 4"/>
          <p:cNvSpPr/>
          <p:nvPr/>
        </p:nvSpPr>
        <p:spPr>
          <a:xfrm>
            <a:off x="467544" y="1080487"/>
            <a:ext cx="8352928" cy="648072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TextBox 5"/>
          <p:cNvSpPr txBox="1"/>
          <p:nvPr/>
        </p:nvSpPr>
        <p:spPr>
          <a:xfrm>
            <a:off x="1227889" y="1281412"/>
            <a:ext cx="11521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 smtClean="0">
                <a:solidFill>
                  <a:schemeClr val="bg1"/>
                </a:solidFill>
              </a:rPr>
              <a:t>Ca. 1940</a:t>
            </a:r>
            <a:endParaRPr lang="en-GB" sz="1000" b="1" dirty="0">
              <a:solidFill>
                <a:schemeClr val="bg1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12"/>
          <a:stretch/>
        </p:blipFill>
        <p:spPr bwMode="auto">
          <a:xfrm>
            <a:off x="467544" y="1743624"/>
            <a:ext cx="2672818" cy="2304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3"/>
          <p:cNvPicPr preferRelativeResize="0"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6256" y="1743624"/>
            <a:ext cx="1558270" cy="2304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3589327" y="1281412"/>
            <a:ext cx="11521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 smtClean="0">
                <a:solidFill>
                  <a:schemeClr val="bg1"/>
                </a:solidFill>
              </a:rPr>
              <a:t>1998</a:t>
            </a:r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211579" y="1281412"/>
            <a:ext cx="11521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 smtClean="0">
                <a:solidFill>
                  <a:schemeClr val="bg1"/>
                </a:solidFill>
              </a:rPr>
              <a:t>2015</a:t>
            </a:r>
          </a:p>
          <a:p>
            <a:pPr algn="ctr"/>
            <a:endParaRPr lang="en-GB" sz="1000" b="1" dirty="0">
              <a:solidFill>
                <a:schemeClr val="bg1"/>
              </a:solidFill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3271661" y="1237466"/>
            <a:ext cx="0" cy="313448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5059122" y="1237466"/>
            <a:ext cx="0" cy="313448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lassholder for bilde 10"/>
          <p:cNvPicPr preferRelativeResize="0">
            <a:picLocks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66" b="3966"/>
          <a:stretch>
            <a:fillRect/>
          </a:stretch>
        </p:blipFill>
        <p:spPr>
          <a:xfrm>
            <a:off x="5199526" y="1743624"/>
            <a:ext cx="3176235" cy="2304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427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FJERNSTYRTE TÅRN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74848" y="1049486"/>
            <a:ext cx="8229600" cy="3394472"/>
          </a:xfrm>
        </p:spPr>
        <p:txBody>
          <a:bodyPr>
            <a:normAutofit fontScale="85000" lnSpcReduction="20000"/>
          </a:bodyPr>
          <a:lstStyle/>
          <a:p>
            <a:r>
              <a:rPr lang="nb-NO" dirty="0" smtClean="0"/>
              <a:t>Betydelig reduksjon i lufthavnenes kostnader</a:t>
            </a:r>
          </a:p>
          <a:p>
            <a:r>
              <a:rPr lang="nb-NO" dirty="0" smtClean="0"/>
              <a:t>Avinor har ambisjon om 36 lufthavner</a:t>
            </a:r>
          </a:p>
          <a:p>
            <a:r>
              <a:rPr lang="nb-NO" dirty="0" smtClean="0"/>
              <a:t>Første fase; 15 lufthavner – Tårnsenter i Bodø</a:t>
            </a:r>
          </a:p>
          <a:p>
            <a:r>
              <a:rPr lang="nb-NO" dirty="0" smtClean="0"/>
              <a:t>Sikkerhet like god eller bedre enn tradisjonelle tårn</a:t>
            </a:r>
          </a:p>
          <a:p>
            <a:pPr lvl="1"/>
            <a:r>
              <a:rPr lang="nb-NO" dirty="0" smtClean="0"/>
              <a:t>Moderne teknologi</a:t>
            </a:r>
          </a:p>
          <a:p>
            <a:pPr lvl="1"/>
            <a:r>
              <a:rPr lang="nb-NO" dirty="0" smtClean="0"/>
              <a:t>Strenge sikkerhetskrav og strenge krav til dokumentasjon </a:t>
            </a:r>
          </a:p>
          <a:p>
            <a:pPr lvl="1"/>
            <a:r>
              <a:rPr lang="nb-NO" dirty="0" smtClean="0"/>
              <a:t>Luftfartstilsynet godkjenner</a:t>
            </a:r>
            <a:br>
              <a:rPr lang="nb-NO" dirty="0" smtClean="0"/>
            </a:br>
            <a:endParaRPr lang="nb-NO" dirty="0" smtClean="0"/>
          </a:p>
          <a:p>
            <a:r>
              <a:rPr lang="nb-NO" dirty="0" smtClean="0"/>
              <a:t>Første tårn i løpet av 2017</a:t>
            </a:r>
          </a:p>
          <a:p>
            <a:r>
              <a:rPr lang="nb-NO" dirty="0" smtClean="0"/>
              <a:t>Inngått teknologi- og samarbeidskontrakt med </a:t>
            </a:r>
            <a:br>
              <a:rPr lang="nb-NO" dirty="0" smtClean="0"/>
            </a:br>
            <a:r>
              <a:rPr lang="nb-NO" dirty="0" smtClean="0"/>
              <a:t>Kongsberg </a:t>
            </a:r>
            <a:r>
              <a:rPr lang="nb-NO" dirty="0"/>
              <a:t>G</a:t>
            </a:r>
            <a:r>
              <a:rPr lang="nb-NO" dirty="0" smtClean="0"/>
              <a:t>ruppen.</a:t>
            </a:r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99030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rig.eps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4168" y="2715878"/>
            <a:ext cx="1008000" cy="1008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noProof="0" dirty="0" smtClean="0"/>
              <a:t>REMOTE TOWERS</a:t>
            </a:r>
            <a:endParaRPr lang="nb-NO" noProof="0" dirty="0"/>
          </a:p>
        </p:txBody>
      </p:sp>
      <p:pic>
        <p:nvPicPr>
          <p:cNvPr id="13" name="Picture 12" descr="airport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4168" y="771550"/>
            <a:ext cx="1008112" cy="1008112"/>
          </a:xfrm>
          <a:prstGeom prst="rect">
            <a:avLst/>
          </a:prstGeom>
        </p:spPr>
      </p:pic>
      <p:pic>
        <p:nvPicPr>
          <p:cNvPr id="14" name="Picture 13" descr="person.eps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92" y="1779662"/>
            <a:ext cx="690094" cy="1419622"/>
          </a:xfrm>
          <a:prstGeom prst="rect">
            <a:avLst/>
          </a:prstGeom>
        </p:spPr>
      </p:pic>
      <p:sp>
        <p:nvSpPr>
          <p:cNvPr id="15" name="Right Arrow 14"/>
          <p:cNvSpPr/>
          <p:nvPr/>
        </p:nvSpPr>
        <p:spPr>
          <a:xfrm>
            <a:off x="5144538" y="2139702"/>
            <a:ext cx="360040" cy="2880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6" name="Right Arrow 15"/>
          <p:cNvSpPr/>
          <p:nvPr/>
        </p:nvSpPr>
        <p:spPr>
          <a:xfrm>
            <a:off x="1979712" y="2139702"/>
            <a:ext cx="360040" cy="2880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7" name="Picture 16" descr="screen_airport.eps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1800" y="1563638"/>
            <a:ext cx="1817836" cy="1760430"/>
          </a:xfrm>
          <a:prstGeom prst="rect">
            <a:avLst/>
          </a:prstGeom>
        </p:spPr>
      </p:pic>
      <p:pic>
        <p:nvPicPr>
          <p:cNvPr id="3" name="Picture 2" descr="local_heli.eps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4168" y="1779662"/>
            <a:ext cx="1008000" cy="1008000"/>
          </a:xfrm>
          <a:prstGeom prst="rect">
            <a:avLst/>
          </a:prstGeom>
        </p:spPr>
      </p:pic>
      <p:sp>
        <p:nvSpPr>
          <p:cNvPr id="19" name="Right Arrow 18"/>
          <p:cNvSpPr/>
          <p:nvPr/>
        </p:nvSpPr>
        <p:spPr>
          <a:xfrm rot="1034808">
            <a:off x="5107136" y="2690656"/>
            <a:ext cx="360040" cy="2880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Right Arrow 19"/>
          <p:cNvSpPr/>
          <p:nvPr/>
        </p:nvSpPr>
        <p:spPr>
          <a:xfrm rot="20429132">
            <a:off x="5110297" y="1543492"/>
            <a:ext cx="360040" cy="2880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TekstSylinder 4"/>
          <p:cNvSpPr txBox="1"/>
          <p:nvPr/>
        </p:nvSpPr>
        <p:spPr>
          <a:xfrm>
            <a:off x="6078637" y="3719792"/>
            <a:ext cx="28803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 smtClean="0"/>
              <a:t>Betydelig potensiale også for drift på norsk sokkel!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63802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Avinors bidrag til offshore </a:t>
            </a:r>
            <a:r>
              <a:rPr lang="nb-NO" dirty="0"/>
              <a:t>helikopteroperasjoner 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 smtClean="0"/>
              <a:t>I dag: Sikker og effektiv tjeneste</a:t>
            </a:r>
          </a:p>
          <a:p>
            <a:endParaRPr lang="nb-NO" dirty="0"/>
          </a:p>
          <a:p>
            <a:r>
              <a:rPr lang="nb-NO" dirty="0" smtClean="0"/>
              <a:t>Framover:</a:t>
            </a:r>
          </a:p>
          <a:p>
            <a:pPr lvl="1"/>
            <a:r>
              <a:rPr lang="nb-NO" dirty="0" smtClean="0"/>
              <a:t>Økt sikkerhet</a:t>
            </a:r>
          </a:p>
          <a:p>
            <a:pPr lvl="1"/>
            <a:r>
              <a:rPr lang="nb-NO" dirty="0" smtClean="0"/>
              <a:t>Forbedret tjeneste</a:t>
            </a:r>
          </a:p>
          <a:p>
            <a:pPr lvl="1"/>
            <a:r>
              <a:rPr lang="nb-NO" dirty="0" smtClean="0"/>
              <a:t>Effektiv drift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31808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201"/>
          <a:stretch/>
        </p:blipFill>
        <p:spPr>
          <a:xfrm>
            <a:off x="-65318" y="-668610"/>
            <a:ext cx="9209318" cy="5380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5948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79547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51520" y="231665"/>
            <a:ext cx="8229600" cy="857250"/>
          </a:xfrm>
        </p:spPr>
        <p:txBody>
          <a:bodyPr/>
          <a:lstStyle/>
          <a:p>
            <a:r>
              <a:rPr lang="nb-NO" dirty="0" smtClean="0"/>
              <a:t>ADS-B og kontrollert luftrom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223756" y="956711"/>
            <a:ext cx="5212340" cy="3394472"/>
          </a:xfrm>
        </p:spPr>
        <p:txBody>
          <a:bodyPr>
            <a:normAutofit fontScale="92500" lnSpcReduction="20000"/>
          </a:bodyPr>
          <a:lstStyle/>
          <a:p>
            <a:r>
              <a:rPr lang="nb-NO" sz="1800" dirty="0" smtClean="0"/>
              <a:t/>
            </a:r>
            <a:br>
              <a:rPr lang="nb-NO" sz="1800" dirty="0" smtClean="0"/>
            </a:br>
            <a:r>
              <a:rPr lang="nb-NO" sz="1800" dirty="0" smtClean="0"/>
              <a:t>M-ADS </a:t>
            </a:r>
            <a:r>
              <a:rPr lang="nb-NO" sz="1800" dirty="0"/>
              <a:t>nå fullt erstattet av </a:t>
            </a:r>
            <a:r>
              <a:rPr lang="nb-NO" sz="1800" dirty="0" smtClean="0"/>
              <a:t>ADS-B.</a:t>
            </a:r>
            <a:endParaRPr lang="nb-NO" sz="1800" b="1" dirty="0" smtClean="0"/>
          </a:p>
          <a:p>
            <a:r>
              <a:rPr lang="nb-NO" sz="1800" b="1" dirty="0" smtClean="0"/>
              <a:t>Ekofisk</a:t>
            </a:r>
            <a:r>
              <a:rPr lang="nb-NO" sz="1800" dirty="0" smtClean="0"/>
              <a:t> </a:t>
            </a:r>
            <a:r>
              <a:rPr lang="nb-NO" sz="1800" dirty="0"/>
              <a:t>operativt siden 16. oktober</a:t>
            </a:r>
          </a:p>
          <a:p>
            <a:r>
              <a:rPr lang="nb-NO" sz="1800" b="1" dirty="0"/>
              <a:t>Balder </a:t>
            </a:r>
            <a:r>
              <a:rPr lang="nb-NO" sz="1800" dirty="0"/>
              <a:t>operativt siden 05. februar 2015</a:t>
            </a:r>
          </a:p>
          <a:p>
            <a:r>
              <a:rPr lang="nb-NO" sz="1800" b="1" dirty="0" smtClean="0"/>
              <a:t>Statfjord</a:t>
            </a:r>
            <a:r>
              <a:rPr lang="nb-NO" sz="1800" dirty="0" smtClean="0"/>
              <a:t>-området </a:t>
            </a:r>
            <a:r>
              <a:rPr lang="nb-NO" sz="1800" dirty="0" err="1" smtClean="0"/>
              <a:t>lanlegges</a:t>
            </a:r>
            <a:r>
              <a:rPr lang="nb-NO" sz="1800" dirty="0" smtClean="0"/>
              <a:t> </a:t>
            </a:r>
            <a:r>
              <a:rPr lang="nb-NO" sz="1800" dirty="0"/>
              <a:t>operativt i første halvdel av 2016.</a:t>
            </a:r>
          </a:p>
          <a:p>
            <a:r>
              <a:rPr lang="nb-NO" sz="1800" b="1" dirty="0" smtClean="0"/>
              <a:t>Haltenbanken</a:t>
            </a:r>
            <a:r>
              <a:rPr lang="nb-NO" sz="1800" dirty="0" smtClean="0"/>
              <a:t> </a:t>
            </a:r>
            <a:r>
              <a:rPr lang="nb-NO" sz="1800" dirty="0"/>
              <a:t>er under planlegging.</a:t>
            </a:r>
          </a:p>
          <a:p>
            <a:r>
              <a:rPr lang="nb-NO" sz="1800" b="1" dirty="0" smtClean="0"/>
              <a:t>Barentshavet</a:t>
            </a:r>
            <a:r>
              <a:rPr lang="nb-NO" sz="1800" dirty="0" smtClean="0"/>
              <a:t> </a:t>
            </a:r>
            <a:r>
              <a:rPr lang="nb-NO" sz="1800" dirty="0"/>
              <a:t>vil bli en del av en ADS-B «korridor» til Svalbard. Denne er planlagt implementert i 2016</a:t>
            </a:r>
            <a:r>
              <a:rPr lang="nb-NO" sz="1800" dirty="0" smtClean="0"/>
              <a:t>.</a:t>
            </a:r>
          </a:p>
          <a:p>
            <a:pPr marL="0" indent="0">
              <a:buNone/>
            </a:pPr>
            <a:r>
              <a:rPr lang="nb-NO" sz="1800" dirty="0" smtClean="0"/>
              <a:t/>
            </a:r>
            <a:br>
              <a:rPr lang="nb-NO" sz="1800" dirty="0" smtClean="0"/>
            </a:br>
            <a:endParaRPr lang="nb-NO" sz="1800" dirty="0"/>
          </a:p>
          <a:p>
            <a:pPr marL="0" indent="0">
              <a:buNone/>
            </a:pPr>
            <a:r>
              <a:rPr lang="nb-NO" sz="1800" dirty="0" smtClean="0"/>
              <a:t>Kontrollert luftrom noe forsinket – planlegges innført i november for Ekofisk og desember for Balder.</a:t>
            </a:r>
            <a:endParaRPr lang="nb-NO" sz="1800" dirty="0"/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088" y="844082"/>
            <a:ext cx="3566469" cy="3682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6841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lassholder for innhold 3"/>
          <p:cNvPicPr>
            <a:picLocks noGrp="1" noChangeAspect="1"/>
          </p:cNvPicPr>
          <p:nvPr>
            <p:ph type="pic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748" b="6748"/>
          <a:stretch>
            <a:fillRect/>
          </a:stretch>
        </p:blipFill>
        <p:spPr>
          <a:xfrm>
            <a:off x="107504" y="267494"/>
            <a:ext cx="6739136" cy="4128393"/>
          </a:xfrm>
        </p:spPr>
      </p:pic>
      <p:sp>
        <p:nvSpPr>
          <p:cNvPr id="4" name="Rektangel 3"/>
          <p:cNvSpPr/>
          <p:nvPr/>
        </p:nvSpPr>
        <p:spPr>
          <a:xfrm>
            <a:off x="4734272" y="4443958"/>
            <a:ext cx="480628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100" i="1" dirty="0" smtClean="0">
                <a:solidFill>
                  <a:schemeClr val="bg1"/>
                </a:solidFill>
              </a:rPr>
              <a:t>Faktisk </a:t>
            </a:r>
            <a:r>
              <a:rPr lang="nb-NO" sz="1100" i="1" dirty="0">
                <a:solidFill>
                  <a:schemeClr val="bg1"/>
                </a:solidFill>
              </a:rPr>
              <a:t>ADS-B dekning for de 10 eksisterende ADS-B installasjonene </a:t>
            </a:r>
          </a:p>
        </p:txBody>
      </p:sp>
    </p:spTree>
    <p:extLst>
      <p:ext uri="{BB962C8B-B14F-4D97-AF65-F5344CB8AC3E}">
        <p14:creationId xmlns:p14="http://schemas.microsoft.com/office/powerpoint/2010/main" val="2467270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Oppgradert/utvidet helikopterterminal Sola</a:t>
            </a:r>
            <a:br>
              <a:rPr lang="nb-NO" dirty="0" smtClean="0"/>
            </a:br>
            <a:r>
              <a:rPr lang="nb-NO" sz="1600" dirty="0" smtClean="0"/>
              <a:t>Ferdig 2016</a:t>
            </a:r>
            <a:endParaRPr lang="nb-NO" dirty="0"/>
          </a:p>
        </p:txBody>
      </p:sp>
      <p:pic>
        <p:nvPicPr>
          <p:cNvPr id="4" name="Plassholder for innhold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1640" y="987574"/>
            <a:ext cx="6206711" cy="3317107"/>
          </a:xfrm>
        </p:spPr>
      </p:pic>
      <p:sp>
        <p:nvSpPr>
          <p:cNvPr id="5" name="TekstSylinder 4"/>
          <p:cNvSpPr txBox="1"/>
          <p:nvPr/>
        </p:nvSpPr>
        <p:spPr>
          <a:xfrm>
            <a:off x="389446" y="4307055"/>
            <a:ext cx="47525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 smtClean="0"/>
              <a:t>Totalt areal 3900m2. Kostnad Nok 90 </a:t>
            </a:r>
            <a:r>
              <a:rPr lang="nb-NO" sz="1400" dirty="0" err="1" smtClean="0"/>
              <a:t>mill</a:t>
            </a:r>
            <a:endParaRPr lang="nb-NO" sz="1400" dirty="0"/>
          </a:p>
        </p:txBody>
      </p:sp>
    </p:spTree>
    <p:extLst>
      <p:ext uri="{BB962C8B-B14F-4D97-AF65-F5344CB8AC3E}">
        <p14:creationId xmlns:p14="http://schemas.microsoft.com/office/powerpoint/2010/main" val="2901392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Økt kapasitet helikopteroppstillingsplasser:</a:t>
            </a:r>
            <a:endParaRPr lang="nb-NO" dirty="0"/>
          </a:p>
        </p:txBody>
      </p:sp>
      <p:pic>
        <p:nvPicPr>
          <p:cNvPr id="4" name="Plassholder for innhold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784" y="1121342"/>
            <a:ext cx="3744415" cy="3571801"/>
          </a:xfrm>
        </p:spPr>
      </p:pic>
      <p:sp>
        <p:nvSpPr>
          <p:cNvPr id="5" name="TekstSylinder 4"/>
          <p:cNvSpPr txBox="1"/>
          <p:nvPr/>
        </p:nvSpPr>
        <p:spPr>
          <a:xfrm>
            <a:off x="395536" y="1275606"/>
            <a:ext cx="216024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 smtClean="0"/>
              <a:t>Økt fra 11 til 14 plasser på eksisterende plattform</a:t>
            </a:r>
          </a:p>
          <a:p>
            <a:endParaRPr lang="nb-NO" dirty="0"/>
          </a:p>
          <a:p>
            <a:r>
              <a:rPr lang="nb-NO" dirty="0" smtClean="0"/>
              <a:t>Bygger en ny plass. Ferdig i desember 2015</a:t>
            </a:r>
            <a:endParaRPr lang="nb-NO" dirty="0"/>
          </a:p>
        </p:txBody>
      </p:sp>
      <p:cxnSp>
        <p:nvCxnSpPr>
          <p:cNvPr id="7" name="Rett pil 6"/>
          <p:cNvCxnSpPr/>
          <p:nvPr/>
        </p:nvCxnSpPr>
        <p:spPr>
          <a:xfrm flipV="1">
            <a:off x="2123728" y="2067694"/>
            <a:ext cx="1440160" cy="1296144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856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4" name="Plassholder for innhold 3"/>
          <p:cNvPicPr>
            <a:picLocks noGrp="1" noChangeAspect="1"/>
          </p:cNvPicPr>
          <p:nvPr>
            <p:ph idx="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9285297" cy="4731990"/>
          </a:xfrm>
        </p:spPr>
      </p:pic>
    </p:spTree>
    <p:extLst>
      <p:ext uri="{BB962C8B-B14F-4D97-AF65-F5344CB8AC3E}">
        <p14:creationId xmlns:p14="http://schemas.microsoft.com/office/powerpoint/2010/main" val="2586705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4" name="Plassholder for innhold 3"/>
          <p:cNvPicPr>
            <a:picLocks noGrp="1" noChangeAspect="1"/>
          </p:cNvPicPr>
          <p:nvPr>
            <p:ph idx="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90" b="-29472"/>
          <a:stretch/>
        </p:blipFill>
        <p:spPr>
          <a:xfrm>
            <a:off x="-36512" y="0"/>
            <a:ext cx="9180512" cy="6125123"/>
          </a:xfrm>
        </p:spPr>
      </p:pic>
    </p:spTree>
    <p:extLst>
      <p:ext uri="{BB962C8B-B14F-4D97-AF65-F5344CB8AC3E}">
        <p14:creationId xmlns:p14="http://schemas.microsoft.com/office/powerpoint/2010/main" val="621526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4" name="Plassholder for innhold 3"/>
          <p:cNvPicPr>
            <a:picLocks noGrp="1" noChangeAspect="1"/>
          </p:cNvPicPr>
          <p:nvPr>
            <p:ph idx="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9144000" cy="4731990"/>
          </a:xfrm>
        </p:spPr>
      </p:pic>
    </p:spTree>
    <p:extLst>
      <p:ext uri="{BB962C8B-B14F-4D97-AF65-F5344CB8AC3E}">
        <p14:creationId xmlns:p14="http://schemas.microsoft.com/office/powerpoint/2010/main" val="2986594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vinor-Format-16-9">
  <a:themeElements>
    <a:clrScheme name="AVINOR">
      <a:dk1>
        <a:srgbClr val="1D1D1D"/>
      </a:dk1>
      <a:lt1>
        <a:sysClr val="window" lastClr="FFFFFF"/>
      </a:lt1>
      <a:dk2>
        <a:srgbClr val="84236B"/>
      </a:dk2>
      <a:lt2>
        <a:srgbClr val="6BDBD0"/>
      </a:lt2>
      <a:accent1>
        <a:srgbClr val="471C59"/>
      </a:accent1>
      <a:accent2>
        <a:srgbClr val="FBB034"/>
      </a:accent2>
      <a:accent3>
        <a:srgbClr val="3F3F3F"/>
      </a:accent3>
      <a:accent4>
        <a:srgbClr val="7F7F7F"/>
      </a:accent4>
      <a:accent5>
        <a:srgbClr val="A5A5A5"/>
      </a:accent5>
      <a:accent6>
        <a:srgbClr val="D8D8D8"/>
      </a:accent6>
      <a:hlink>
        <a:srgbClr val="000000"/>
      </a:hlink>
      <a:folHlink>
        <a:srgbClr val="000000"/>
      </a:folHlink>
    </a:clrScheme>
    <a:fontScheme name="AVIN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odul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7500"/>
                <a:satMod val="137000"/>
              </a:schemeClr>
            </a:gs>
            <a:gs pos="55000">
              <a:schemeClr val="phClr">
                <a:shade val="69000"/>
                <a:satMod val="137000"/>
              </a:schemeClr>
            </a:gs>
            <a:gs pos="100000">
              <a:schemeClr val="phClr">
                <a:shade val="98000"/>
                <a:satMod val="137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48000" cap="flat" cmpd="thickThin" algn="ctr">
          <a:solidFill>
            <a:schemeClr val="phClr"/>
          </a:solidFill>
          <a:prstDash val="solid"/>
        </a:ln>
        <a:ln w="48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5000" dist="25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1800000"/>
            </a:lightRig>
          </a:scene3d>
          <a:sp3d prstMaterial="matte">
            <a:bevelT h="200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vinor-Widescreen</Template>
  <TotalTime>211</TotalTime>
  <Words>210</Words>
  <Application>Microsoft Office PowerPoint</Application>
  <PresentationFormat>Skjermfremvisning (16:9)</PresentationFormat>
  <Paragraphs>68</Paragraphs>
  <Slides>21</Slides>
  <Notes>2</Notes>
  <HiddenSlides>0</HiddenSlides>
  <MMClips>0</MMClips>
  <ScaleCrop>false</ScaleCrop>
  <HeadingPairs>
    <vt:vector size="8" baseType="variant">
      <vt:variant>
        <vt:lpstr>Brukte skrifter</vt:lpstr>
      </vt:variant>
      <vt:variant>
        <vt:i4>2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21</vt:i4>
      </vt:variant>
    </vt:vector>
  </HeadingPairs>
  <TitlesOfParts>
    <vt:vector size="25" baseType="lpstr">
      <vt:lpstr>Arial</vt:lpstr>
      <vt:lpstr>Calibri</vt:lpstr>
      <vt:lpstr>Avinor-Format-16-9</vt:lpstr>
      <vt:lpstr>think-cell Slide</vt:lpstr>
      <vt:lpstr>PowerPoint-presentasjon</vt:lpstr>
      <vt:lpstr>Avinors bidrag til offshore helikopteroperasjoner </vt:lpstr>
      <vt:lpstr>ADS-B og kontrollert luftrom</vt:lpstr>
      <vt:lpstr>PowerPoint-presentasjon</vt:lpstr>
      <vt:lpstr>Oppgradert/utvidet helikopterterminal Sola Ferdig 2016</vt:lpstr>
      <vt:lpstr>Økt kapasitet helikopteroppstillingsplasser: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Støy</vt:lpstr>
      <vt:lpstr>Dagens situasjon Sola  Hovedtyngden av inn- og utflyginger går over sjø</vt:lpstr>
      <vt:lpstr>Dagens situasjon  Sola Eksempler på inn- og utflyginger som skal samles i smalere traséer over land  </vt:lpstr>
      <vt:lpstr>Satellittbaserte innflygingsprosedyrer</vt:lpstr>
      <vt:lpstr>Avinor effektiviserer</vt:lpstr>
      <vt:lpstr>Lufttrafikktjenesten gjennom historien</vt:lpstr>
      <vt:lpstr>FJERNSTYRTE TÅRN</vt:lpstr>
      <vt:lpstr>REMOTE TOWERS</vt:lpstr>
      <vt:lpstr>PowerPoint-presentasjon</vt:lpstr>
      <vt:lpstr>PowerPoint-presentasjon</vt:lpstr>
    </vt:vector>
  </TitlesOfParts>
  <Company>Avinor 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Løksa, Kristian</dc:creator>
  <cp:lastModifiedBy>Løksa, Kristian</cp:lastModifiedBy>
  <cp:revision>14</cp:revision>
  <dcterms:created xsi:type="dcterms:W3CDTF">2015-09-19T16:44:59Z</dcterms:created>
  <dcterms:modified xsi:type="dcterms:W3CDTF">2015-09-21T06:54:01Z</dcterms:modified>
</cp:coreProperties>
</file>